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9"/>
  </p:notesMasterIdLst>
  <p:sldIdLst>
    <p:sldId id="302" r:id="rId2"/>
    <p:sldId id="305" r:id="rId3"/>
    <p:sldId id="272" r:id="rId4"/>
    <p:sldId id="280" r:id="rId5"/>
    <p:sldId id="273" r:id="rId6"/>
    <p:sldId id="307" r:id="rId7"/>
    <p:sldId id="299" r:id="rId8"/>
    <p:sldId id="275" r:id="rId9"/>
    <p:sldId id="285" r:id="rId10"/>
    <p:sldId id="306" r:id="rId11"/>
    <p:sldId id="286" r:id="rId12"/>
    <p:sldId id="282" r:id="rId13"/>
    <p:sldId id="287" r:id="rId14"/>
    <p:sldId id="288" r:id="rId15"/>
    <p:sldId id="289" r:id="rId16"/>
    <p:sldId id="293" r:id="rId17"/>
    <p:sldId id="276" r:id="rId18"/>
    <p:sldId id="292" r:id="rId19"/>
    <p:sldId id="294" r:id="rId20"/>
    <p:sldId id="295" r:id="rId21"/>
    <p:sldId id="296" r:id="rId22"/>
    <p:sldId id="297" r:id="rId23"/>
    <p:sldId id="308" r:id="rId24"/>
    <p:sldId id="310" r:id="rId25"/>
    <p:sldId id="281" r:id="rId26"/>
    <p:sldId id="300" r:id="rId27"/>
    <p:sldId id="301" r:id="rId28"/>
  </p:sldIdLst>
  <p:sldSz cx="12192000" cy="6858000"/>
  <p:notesSz cx="7086600" cy="9372600"/>
  <p:custDataLst>
    <p:tags r:id="rId3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FF"/>
    <a:srgbClr val="003399"/>
    <a:srgbClr val="CCFFCC"/>
    <a:srgbClr val="DFE8F1"/>
    <a:srgbClr val="C8D8E6"/>
    <a:srgbClr val="B2C7DB"/>
    <a:srgbClr val="F2F2F2"/>
    <a:srgbClr val="FFF7EB"/>
    <a:srgbClr val="33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3073" autoAdjust="0"/>
  </p:normalViewPr>
  <p:slideViewPr>
    <p:cSldViewPr showGuides="1">
      <p:cViewPr varScale="1">
        <p:scale>
          <a:sx n="67" d="100"/>
          <a:sy n="67" d="100"/>
        </p:scale>
        <p:origin x="960" y="7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0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en.wikipedia.org/wiki/List_of_presidents_of_the_United_States" TargetMode="Externa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 –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   F.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Dürrenmatt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: 100</a:t>
            </a:r>
            <a:r>
              <a:rPr lang="en-US" sz="1000" baseline="30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th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Anniversary at release d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125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Release 8.00  2021-01-05 "Friedrich </a:t>
            </a:r>
            <a:r>
              <a:rPr lang="en-US" sz="1200" dirty="0" err="1">
                <a:solidFill>
                  <a:schemeClr val="bg1"/>
                </a:solidFill>
              </a:rPr>
              <a:t>Dürrenmatt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1091444" y="2962886"/>
            <a:ext cx="89289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Transforming Big Data 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611724" y="981016"/>
            <a:ext cx="2123570" cy="5112280"/>
          </a:xfrm>
          <a:prstGeom prst="roundRect">
            <a:avLst/>
          </a:prstGeom>
          <a:solidFill>
            <a:srgbClr val="0033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Use Case</a:t>
            </a:r>
            <a:br>
              <a:rPr lang="en-US" dirty="0"/>
            </a:br>
            <a:r>
              <a:rPr lang="en-US" dirty="0"/>
              <a:t>Heterogeneous data integration and cleanup from different sites worldwid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65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12474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273324"/>
            <a:ext cx="1800200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19675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18448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191683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19888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56490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63691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70892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35699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429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07707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2210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221088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494116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ussdiagramm: Zentralspeicher 27">
            <a:extLst>
              <a:ext uri="{FF2B5EF4-FFF2-40B4-BE49-F238E27FC236}">
                <a16:creationId xmlns:a16="http://schemas.microsoft.com/office/drawing/2014/main" id="{A775A2CE-32C1-4819-B56D-D9B5543C5761}"/>
              </a:ext>
            </a:extLst>
          </p:cNvPr>
          <p:cNvSpPr/>
          <p:nvPr/>
        </p:nvSpPr>
        <p:spPr>
          <a:xfrm>
            <a:off x="1487488" y="4941168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12474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268760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196752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184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1916984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62880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34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56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2852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708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56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Produ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636984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36152" y="1044177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data from the different sites originate from different databases.  Some sites do a manual preparation or preconditioning of the exported data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715665" y="1811283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564984"/>
            <a:ext cx="345665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06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28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572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428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356984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284984"/>
            <a:ext cx="345665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ifferent project names and/or abbreviations are used by the sites.  They will be aligned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ssociated info (e.g. project numbers) can be includ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00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076984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076984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2209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378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3964376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sequential list of individual demands is transformed 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72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50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652984"/>
            <a:ext cx="2448544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f supply info is available, then match demand with supply info (e.g. delivery plans) and add to the table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4868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72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444984"/>
            <a:ext cx="1584176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22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588984"/>
            <a:ext cx="10081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37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44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Demand 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372984"/>
            <a:ext cx="2448544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tailed report for internal use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ensed reports for vendo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708984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428984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4796984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553092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517232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79376" y="5445224"/>
            <a:ext cx="2664296" cy="4320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databases systems or manually with Excel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6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70C0"/>
                </a:solidFill>
              </a:rPr>
              <a:t>B4P</a:t>
            </a:r>
            <a:r>
              <a:rPr lang="en-US" dirty="0">
                <a:solidFill>
                  <a:srgbClr val="0070C0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RP = Enterprise Resource Management Databases (e.g. SAP, Oracle, BAAN, Abacus)</a:t>
            </a:r>
          </a:p>
          <a:p>
            <a:r>
              <a:rPr lang="en-US"/>
              <a:t>CRM = Customer Relationship Database (e.g. Salesforce)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11624" y="1772864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</p:cNvCxnSpPr>
          <p:nvPr/>
        </p:nvCxnSpPr>
        <p:spPr>
          <a:xfrm>
            <a:off x="3503712" y="1557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23456" y="105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19736" y="1808868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368248" y="1701000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04248" y="2277000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03688" y="5301288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367808" y="980728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uitable for processing (e.g. removal of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11624" y="2708920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791744" y="278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04053" y="2665974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367808" y="2636912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place long names by short harmoniz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04248" y="3213104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11624" y="3645024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19736" y="371703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07736" y="371703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863736" y="386103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367808" y="3501080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dentify multiple rows with sam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pportunity numbers (as they cov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ifferent product &amp; service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per handling of traditional OEM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usiness, consortia setups 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quipment busines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11624" y="4797152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03712" y="414908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367808" y="4725144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ke corrections if orders given to competitors appear over- 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 of values of 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19736" y="48691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07768" y="48692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863784" y="50851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19336" y="270892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with 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19336" y="35010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change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335360" y="3789040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467693" y="3892798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594693" y="3822948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03512" y="28575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07568" y="3068960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03512" y="371703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07568" y="306896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584449" y="3921449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1933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caling 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03512" y="494573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8832704" y="170080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and opportunities with multip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7968256" y="1484784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176120" y="1772816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472288" y="1844824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184232" y="1844824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328248" y="198882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7968256" y="227687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176120" y="2564904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8832304" y="242088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Derive Propulsion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6240" y="2636912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7968256" y="3068960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176120" y="3356992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400280" y="3429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56240" y="3420988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8832304" y="3284984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Keep and rearrange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f interest, 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Numeric output in easy-to-rea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187952" y="41490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</p:cNvCxnSpPr>
          <p:nvPr/>
        </p:nvCxnSpPr>
        <p:spPr>
          <a:xfrm>
            <a:off x="7968208" y="3861048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8832304" y="4221160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03712" y="5877272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032104" y="1484784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032104" y="1484784"/>
            <a:ext cx="93610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087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70C0"/>
                </a:solidFill>
              </a:rPr>
              <a:t>B4P</a:t>
            </a:r>
            <a:br>
              <a:rPr lang="en-US" dirty="0"/>
            </a:br>
            <a:r>
              <a:rPr lang="en-US" dirty="0"/>
              <a:t>Languag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</a:t>
            </a:r>
            <a:r>
              <a:rPr lang="en-US" sz="1400" dirty="0" err="1"/>
              <a:t>libary</a:t>
            </a:r>
            <a:r>
              <a:rPr lang="en-US" sz="1400" dirty="0"/>
              <a:t>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800 functions, including 200 functions for processing tables, and growing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9923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70C0"/>
                </a:solidFill>
              </a:rPr>
              <a:t>B4P</a:t>
            </a:r>
            <a:br>
              <a:rPr lang="en-US" dirty="0"/>
            </a:br>
            <a:r>
              <a:rPr lang="en-US" dirty="0"/>
              <a:t>Language Syntax and Semantic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s and variables are the two main data storage mechanis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Dynamic variable tree, allowing to build up nested arrays and structur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</a:t>
            </a:r>
            <a:br>
              <a:rPr lang="en-US" sz="1400" dirty="0"/>
            </a:br>
            <a:r>
              <a:rPr lang="en-US" sz="1400" dirty="0"/>
              <a:t>Example: 	table process (...),  pick if (...)</a:t>
            </a:r>
            <a:br>
              <a:rPr lang="en-US" sz="1400" dirty="0"/>
            </a:br>
            <a:r>
              <a:rPr lang="en-US" sz="1400" dirty="0"/>
              <a:t>Benefit: 	Eliminates need to write loops or other detai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ile names with directory paths are understood and interpreted correctly in other platforms (e.g. Windows vs. Linu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r>
              <a:rPr lang="en-US" sz="1400" b="1" dirty="0"/>
              <a:t>When you program, think big:</a:t>
            </a:r>
          </a:p>
          <a:p>
            <a:r>
              <a:rPr lang="en-US" sz="1400" dirty="0"/>
              <a:t>Hint 1	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these tables and big data. </a:t>
            </a:r>
            <a:br>
              <a:rPr lang="en-US" sz="1400" dirty="0"/>
            </a:br>
            <a:r>
              <a:rPr lang="en-US" sz="1400" dirty="0"/>
              <a:t>	Large tables will be analyzed and processed at naked machine performance.</a:t>
            </a:r>
          </a:p>
          <a:p>
            <a:r>
              <a:rPr lang="en-US" sz="1400" dirty="0"/>
              <a:t>Hint 2	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r>
              <a:rPr lang="en-US" sz="1400" dirty="0"/>
              <a:t>Hint 3	Think how you can formulate your code in a very compact manner without compromising comprehensibility. </a:t>
            </a:r>
            <a:br>
              <a:rPr lang="en-US" sz="1400" dirty="0"/>
            </a:br>
            <a:r>
              <a:rPr lang="en-US" sz="1400" dirty="0"/>
              <a:t>	</a:t>
            </a:r>
            <a:r>
              <a:rPr lang="en-US" sz="1400" b="1" dirty="0">
                <a:solidFill>
                  <a:srgbClr val="003399"/>
                </a:solidFill>
              </a:rPr>
              <a:t>Doing the great things with 5 - 20 lines of code is within reach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1</a:t>
            </a:r>
            <a:br>
              <a:rPr lang="en-US" dirty="0"/>
            </a:br>
            <a:r>
              <a:rPr lang="en-US" dirty="0"/>
              <a:t>Merging 2 Tables – Problem Statemen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Image </a:t>
            </a:r>
            <a:r>
              <a:rPr lang="de-CH" dirty="0" err="1"/>
              <a:t>sources</a:t>
            </a:r>
            <a:r>
              <a:rPr lang="de-CH" dirty="0"/>
              <a:t>: </a:t>
            </a:r>
            <a:r>
              <a:rPr lang="de-CH" dirty="0" err="1"/>
              <a:t>lsc-fussball.ch</a:t>
            </a:r>
            <a:r>
              <a:rPr lang="de-CH" dirty="0"/>
              <a:t>, </a:t>
            </a:r>
            <a:r>
              <a:rPr lang="de-CH" dirty="0" err="1"/>
              <a:t>news4santonio.com</a:t>
            </a:r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916832"/>
            <a:ext cx="5048250" cy="238125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839416" y="1484784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8088" y="1916832"/>
            <a:ext cx="3419475" cy="249555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9F1A9A39-7775-4804-80B8-7C9A1641B815}"/>
              </a:ext>
            </a:extLst>
          </p:cNvPr>
          <p:cNvSpPr/>
          <p:nvPr/>
        </p:nvSpPr>
        <p:spPr>
          <a:xfrm>
            <a:off x="6888088" y="134076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embership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487488" y="4581128"/>
            <a:ext cx="8568952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Merge the two tables into one tabl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tables of the two clubs are arranged different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people are members in both clubs.  They need to be resolved properly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Highlight possible inconsistencies</a:t>
            </a:r>
          </a:p>
        </p:txBody>
      </p:sp>
      <p:pic>
        <p:nvPicPr>
          <p:cNvPr id="1026" name="Picture 2" descr="LSC» Offizielle Website - «LSC» Offizielle Website">
            <a:extLst>
              <a:ext uri="{FF2B5EF4-FFF2-40B4-BE49-F238E27FC236}">
                <a16:creationId xmlns:a16="http://schemas.microsoft.com/office/drawing/2014/main" id="{366BFF3A-FFC2-4B8F-BFB7-0617491771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01"/>
          <a:stretch/>
        </p:blipFill>
        <p:spPr bwMode="auto">
          <a:xfrm>
            <a:off x="8616280" y="980728"/>
            <a:ext cx="1656184" cy="88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66A42ED-2989-4C2C-84AC-81A666AAF6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7519" y="980728"/>
            <a:ext cx="1638300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1</a:t>
            </a:r>
            <a:br>
              <a:rPr lang="en-US" dirty="0"/>
            </a:br>
            <a:r>
              <a:rPr lang="en-US" dirty="0"/>
              <a:t>A simple program merging 2 tables – 15 statements, 0 variables, 0 loop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071664" y="1863983"/>
            <a:ext cx="8640960" cy="32932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A small demonstration program showing how Excel files (.xlsx) are read, processed and saved, including some style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	// Include this library if you want to use the 'table style ...' functions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football club, Football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soccer club,   Soccer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football club, { Family Name, City }, { Last Name, Town }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occer club,   [Level]==Novice, [Level]=Beginner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football club, soccer club, { Last Name, First Name }, { Level, Town }, append, " or "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Last Name,  First Name }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First Name, Last Name, Town }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// Done processing.  Before saving to Excel fie, do some formatting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heet, column width, 20, row height, 20,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              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0, sheet, boldface, true, fill color, gray 15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Level, sheet, column width, 30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occer club, ([Level] = '*Questionable*'),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( soccer club, Level, row(), single, text color, red )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soccer club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occer Club, New Soccer Club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cho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2711872" y="119675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understand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875B756-E0DB-4D18-A4AE-17CA7F59769E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3827872" y="1700808"/>
            <a:ext cx="0" cy="64807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407368" y="184482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ultiple words </a:t>
            </a:r>
            <a:r>
              <a:rPr lang="en-US" sz="1400" dirty="0">
                <a:solidFill>
                  <a:schemeClr val="tx1"/>
                </a:solidFill>
              </a:rPr>
              <a:t>allow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or readability + flexibility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53852AC-8F0D-414F-98A6-28A5AC1E99D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639368" y="2096852"/>
            <a:ext cx="648320" cy="46805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07368" y="270892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1 statement merg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2 tables </a:t>
            </a:r>
            <a:r>
              <a:rPr lang="en-US" sz="14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2639368" y="2960948"/>
            <a:ext cx="64832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5087888" y="1196752"/>
            <a:ext cx="2808064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o loops.  </a:t>
            </a:r>
            <a:r>
              <a:rPr lang="en-US" sz="1400" dirty="0">
                <a:solidFill>
                  <a:schemeClr val="tx1"/>
                </a:solidFill>
              </a:rPr>
              <a:t>Simple statements applied for the whole tab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8256488" y="1196752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load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8616280" y="1700808"/>
            <a:ext cx="0" cy="64807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85893C8-0A1A-4F58-9595-1F6B471494D0}"/>
              </a:ext>
            </a:extLst>
          </p:cNvPr>
          <p:cNvCxnSpPr>
            <a:cxnSpLocks/>
          </p:cNvCxnSpPr>
          <p:nvPr/>
        </p:nvCxnSpPr>
        <p:spPr>
          <a:xfrm>
            <a:off x="7248128" y="1700808"/>
            <a:ext cx="0" cy="108012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5E9E909A-2E51-492D-8CCA-0117CAD33E15}"/>
              </a:ext>
            </a:extLst>
          </p:cNvPr>
          <p:cNvSpPr/>
          <p:nvPr/>
        </p:nvSpPr>
        <p:spPr>
          <a:xfrm>
            <a:off x="407368" y="3573016"/>
            <a:ext cx="2232000" cy="15121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7 Statements to combine the clubs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7 statements to ad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ome formatting an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ave the work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6159628-80B7-4F93-B889-530ED3B95697}"/>
              </a:ext>
            </a:extLst>
          </p:cNvPr>
          <p:cNvSpPr/>
          <p:nvPr/>
        </p:nvSpPr>
        <p:spPr>
          <a:xfrm>
            <a:off x="407368" y="530120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The result is ready for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presentation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705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1</a:t>
            </a:r>
            <a:br>
              <a:rPr lang="en-US" dirty="0"/>
            </a:br>
            <a:r>
              <a:rPr lang="en-US" dirty="0"/>
              <a:t>Merging 2 Tables – The Resul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79376" y="98072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6023992" y="2924944"/>
            <a:ext cx="5040560" cy="23042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he Result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lub members merged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rted by qualificatio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nconsistencies highlighted (different color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op row frozen and </a:t>
            </a:r>
            <a:r>
              <a:rPr lang="en-US" sz="1600" dirty="0" err="1">
                <a:solidFill>
                  <a:schemeClr val="tx1"/>
                </a:solidFill>
              </a:rPr>
              <a:t>autofilter</a:t>
            </a:r>
            <a:r>
              <a:rPr lang="en-US" sz="1600" dirty="0">
                <a:solidFill>
                  <a:schemeClr val="tx1"/>
                </a:solidFill>
              </a:rPr>
              <a:t> feature provided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function </a:t>
            </a:r>
            <a:r>
              <a:rPr lang="en-US" sz="1600" b="1" dirty="0">
                <a:solidFill>
                  <a:schemeClr val="tx1"/>
                </a:solidFill>
              </a:rPr>
              <a:t>table merge </a:t>
            </a:r>
            <a:r>
              <a:rPr lang="en-US" sz="1600" dirty="0">
                <a:solidFill>
                  <a:schemeClr val="tx1"/>
                </a:solidFill>
              </a:rPr>
              <a:t>(...) has resolved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deviating information of the same persons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Example: See last row on level and town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A194CBF-5159-43AD-A454-16E896B3F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5" y="1232977"/>
            <a:ext cx="5125049" cy="471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687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2</a:t>
            </a:r>
            <a:br>
              <a:rPr lang="en-US" dirty="0"/>
            </a:br>
            <a:r>
              <a:rPr lang="en-US" dirty="0"/>
              <a:t>U.S. Presidents from Wikipedia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ist_of_presidents_of_the_United_States</a:t>
            </a:r>
            <a:r>
              <a:rPr lang="de-CH" dirty="0"/>
              <a:t> 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B2B5018-10DF-4557-B3DE-0EF4ACD7A487}"/>
              </a:ext>
            </a:extLst>
          </p:cNvPr>
          <p:cNvSpPr/>
          <p:nvPr/>
        </p:nvSpPr>
        <p:spPr>
          <a:xfrm>
            <a:off x="6312024" y="1628800"/>
            <a:ext cx="5472608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and structure the data, 1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presidents have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vice presidents have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Import and clean up the data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Generate a clean Excel file for further us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1052736"/>
            <a:ext cx="5868513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 Program Example 2</a:t>
            </a:r>
            <a:br>
              <a:rPr lang="en-US" dirty="0"/>
            </a:br>
            <a:r>
              <a:rPr lang="en-US" dirty="0"/>
              <a:t>18 Statements, 0 loops and 0 variables to straighten up the Presid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479376" y="980728"/>
            <a:ext cx="8424936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presidents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presidents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arty colors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presidents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party colors 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, All U.S.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 Program Example 2</a:t>
            </a:r>
            <a:br>
              <a:rPr lang="en-US" dirty="0"/>
            </a:br>
            <a:r>
              <a:rPr lang="en-US" dirty="0"/>
              <a:t>Presidents – The Result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229763-D6FB-4CB7-8153-0C1259F49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268760"/>
            <a:ext cx="9686925" cy="344805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D39EC57-070A-4A0E-AE6D-995CBDE364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5085184"/>
            <a:ext cx="9686925" cy="59055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BCB79D1F-3044-461A-A9A5-E3729F3F4CC7}"/>
              </a:ext>
            </a:extLst>
          </p:cNvPr>
          <p:cNvSpPr/>
          <p:nvPr/>
        </p:nvSpPr>
        <p:spPr>
          <a:xfrm>
            <a:off x="551384" y="4725144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2BD2E1-09CC-47EF-94B1-33E83DC8C6C0}"/>
              </a:ext>
            </a:extLst>
          </p:cNvPr>
          <p:cNvSpPr/>
          <p:nvPr/>
        </p:nvSpPr>
        <p:spPr>
          <a:xfrm>
            <a:off x="7680176" y="3140968"/>
            <a:ext cx="4320480" cy="23762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45 Presidents with 18 Statement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1 President per line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Data is provided in a clean forma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Parties are highlighted in different color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Waiting for the 46</a:t>
            </a:r>
            <a:r>
              <a:rPr lang="en-US" sz="1600" baseline="30000" dirty="0">
                <a:solidFill>
                  <a:schemeClr val="tx1"/>
                </a:solidFill>
              </a:rPr>
              <a:t>th</a:t>
            </a:r>
            <a:r>
              <a:rPr lang="en-US" sz="1600" dirty="0">
                <a:solidFill>
                  <a:schemeClr val="tx1"/>
                </a:solidFill>
              </a:rPr>
              <a:t> entry to come soon !</a:t>
            </a:r>
          </a:p>
        </p:txBody>
      </p:sp>
    </p:spTree>
    <p:extLst>
      <p:ext uri="{BB962C8B-B14F-4D97-AF65-F5344CB8AC3E}">
        <p14:creationId xmlns:p14="http://schemas.microsoft.com/office/powerpoint/2010/main" val="278386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rgbClr val="0070C0"/>
                </a:solidFill>
              </a:rPr>
              <a:t>Execution and Analytics Engine Overview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7" name="Group">
            <a:extLst>
              <a:ext uri="{FF2B5EF4-FFF2-40B4-BE49-F238E27FC236}">
                <a16:creationId xmlns:a16="http://schemas.microsoft.com/office/drawing/2014/main" id="{C104D124-6519-4DC9-BBDA-3237129138C3}"/>
              </a:ext>
            </a:extLst>
          </p:cNvPr>
          <p:cNvGrpSpPr/>
          <p:nvPr/>
        </p:nvGrpSpPr>
        <p:grpSpPr>
          <a:xfrm>
            <a:off x="6579652" y="1710391"/>
            <a:ext cx="3203946" cy="2681002"/>
            <a:chOff x="0" y="0"/>
            <a:chExt cx="3203945" cy="2087767"/>
          </a:xfrm>
        </p:grpSpPr>
        <p:sp>
          <p:nvSpPr>
            <p:cNvPr id="8" name="Rectangle">
              <a:extLst>
                <a:ext uri="{FF2B5EF4-FFF2-40B4-BE49-F238E27FC236}">
                  <a16:creationId xmlns:a16="http://schemas.microsoft.com/office/drawing/2014/main" id="{F07F97F8-8812-4CC6-B77F-7C42C5C42120}"/>
                </a:ext>
              </a:extLst>
            </p:cNvPr>
            <p:cNvSpPr/>
            <p:nvPr/>
          </p:nvSpPr>
          <p:spPr>
            <a:xfrm flipH="1">
              <a:off x="661489" y="653898"/>
              <a:ext cx="843410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Triangle">
              <a:extLst>
                <a:ext uri="{FF2B5EF4-FFF2-40B4-BE49-F238E27FC236}">
                  <a16:creationId xmlns:a16="http://schemas.microsoft.com/office/drawing/2014/main" id="{9857946F-80F1-424F-B073-DA65D5FE1FA1}"/>
                </a:ext>
              </a:extLst>
            </p:cNvPr>
            <p:cNvSpPr/>
            <p:nvPr/>
          </p:nvSpPr>
          <p:spPr>
            <a:xfrm flipH="1">
              <a:off x="0" y="0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Triangle">
              <a:extLst>
                <a:ext uri="{FF2B5EF4-FFF2-40B4-BE49-F238E27FC236}">
                  <a16:creationId xmlns:a16="http://schemas.microsoft.com/office/drawing/2014/main" id="{545B29C1-529E-4F43-88EB-AA8F64057B34}"/>
                </a:ext>
              </a:extLst>
            </p:cNvPr>
            <p:cNvSpPr/>
            <p:nvPr/>
          </p:nvSpPr>
          <p:spPr>
            <a:xfrm rot="10800000">
              <a:off x="0" y="1429797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48C4F838-B354-4445-AB84-9EF8D9240001}"/>
                </a:ext>
              </a:extLst>
            </p:cNvPr>
            <p:cNvSpPr/>
            <p:nvPr/>
          </p:nvSpPr>
          <p:spPr>
            <a:xfrm flipH="1">
              <a:off x="1498882" y="13825"/>
              <a:ext cx="1705064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12" name="Group">
            <a:extLst>
              <a:ext uri="{FF2B5EF4-FFF2-40B4-BE49-F238E27FC236}">
                <a16:creationId xmlns:a16="http://schemas.microsoft.com/office/drawing/2014/main" id="{4FCE368B-FFBB-4C48-90FB-31510E63BD21}"/>
              </a:ext>
            </a:extLst>
          </p:cNvPr>
          <p:cNvGrpSpPr/>
          <p:nvPr/>
        </p:nvGrpSpPr>
        <p:grpSpPr>
          <a:xfrm>
            <a:off x="1358662" y="1716929"/>
            <a:ext cx="3278092" cy="2681000"/>
            <a:chOff x="0" y="0"/>
            <a:chExt cx="3278090" cy="2087767"/>
          </a:xfrm>
        </p:grpSpPr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2CF12705-F121-4977-8B19-A16FA7E6BC9C}"/>
                </a:ext>
              </a:extLst>
            </p:cNvPr>
            <p:cNvSpPr/>
            <p:nvPr/>
          </p:nvSpPr>
          <p:spPr>
            <a:xfrm>
              <a:off x="1773192" y="653898"/>
              <a:ext cx="843411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Triangle">
              <a:extLst>
                <a:ext uri="{FF2B5EF4-FFF2-40B4-BE49-F238E27FC236}">
                  <a16:creationId xmlns:a16="http://schemas.microsoft.com/office/drawing/2014/main" id="{7A11FF00-8FD2-4B57-83FA-C1B699E464F4}"/>
                </a:ext>
              </a:extLst>
            </p:cNvPr>
            <p:cNvSpPr/>
            <p:nvPr/>
          </p:nvSpPr>
          <p:spPr>
            <a:xfrm>
              <a:off x="1777032" y="0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Triangle">
              <a:extLst>
                <a:ext uri="{FF2B5EF4-FFF2-40B4-BE49-F238E27FC236}">
                  <a16:creationId xmlns:a16="http://schemas.microsoft.com/office/drawing/2014/main" id="{A01F6982-9A09-4342-A82A-82F5B571EED3}"/>
                </a:ext>
              </a:extLst>
            </p:cNvPr>
            <p:cNvSpPr/>
            <p:nvPr/>
          </p:nvSpPr>
          <p:spPr>
            <a:xfrm rot="10800000" flipH="1">
              <a:off x="1777032" y="1429797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7C829226-E780-4880-893C-0BE0F483E681}"/>
                </a:ext>
              </a:extLst>
            </p:cNvPr>
            <p:cNvSpPr/>
            <p:nvPr/>
          </p:nvSpPr>
          <p:spPr>
            <a:xfrm>
              <a:off x="0" y="13825"/>
              <a:ext cx="1779208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3947136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649739" y="2112869"/>
            <a:ext cx="924383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651746" y="2867006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644238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21" name="TextBox 37">
            <a:extLst>
              <a:ext uri="{FF2B5EF4-FFF2-40B4-BE49-F238E27FC236}">
                <a16:creationId xmlns:a16="http://schemas.microsoft.com/office/drawing/2014/main" id="{CCE27BF0-2479-4C29-9B0F-9C39EEA546F3}"/>
              </a:ext>
            </a:extLst>
          </p:cNvPr>
          <p:cNvSpPr txBox="1"/>
          <p:nvPr/>
        </p:nvSpPr>
        <p:spPr>
          <a:xfrm>
            <a:off x="3085570" y="5301208"/>
            <a:ext cx="634784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data files:      Excel, XLS/XLSX, CSV/TSV, XML, JSON, HTML, MHTML, Zip, Text 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5806745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108397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256024" y="1547635"/>
            <a:ext cx="247133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sz="1600" dirty="0"/>
              <a:t>B4P Execution and Analytics Engine</a:t>
            </a:r>
          </a:p>
        </p:txBody>
      </p:sp>
      <p:sp>
        <p:nvSpPr>
          <p:cNvPr id="25" name="Triangle">
            <a:extLst>
              <a:ext uri="{FF2B5EF4-FFF2-40B4-BE49-F238E27FC236}">
                <a16:creationId xmlns:a16="http://schemas.microsoft.com/office/drawing/2014/main" id="{2111E9E1-7971-48B1-8E86-35F9FF3714EE}"/>
              </a:ext>
            </a:extLst>
          </p:cNvPr>
          <p:cNvSpPr/>
          <p:nvPr/>
        </p:nvSpPr>
        <p:spPr>
          <a:xfrm rot="5400000">
            <a:off x="5348171" y="2944420"/>
            <a:ext cx="538348" cy="777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65BF816-37AD-4199-AD9A-5660A00B4218}"/>
              </a:ext>
            </a:extLst>
          </p:cNvPr>
          <p:cNvSpPr txBox="1"/>
          <p:nvPr/>
        </p:nvSpPr>
        <p:spPr>
          <a:xfrm>
            <a:off x="3063122" y="5553236"/>
            <a:ext cx="413410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databases:    Salesforce, Oracle, SAP, Access, …</a:t>
            </a:r>
          </a:p>
        </p:txBody>
      </p:sp>
      <p:sp>
        <p:nvSpPr>
          <p:cNvPr id="27" name="TextBox 49">
            <a:extLst>
              <a:ext uri="{FF2B5EF4-FFF2-40B4-BE49-F238E27FC236}">
                <a16:creationId xmlns:a16="http://schemas.microsoft.com/office/drawing/2014/main" id="{DD261FA9-AFA2-4D01-88DB-6F2ECDA80663}"/>
              </a:ext>
            </a:extLst>
          </p:cNvPr>
          <p:cNvSpPr txBox="1"/>
          <p:nvPr/>
        </p:nvSpPr>
        <p:spPr>
          <a:xfrm>
            <a:off x="3085570" y="5805264"/>
            <a:ext cx="5326612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web data:      Data from any Internet accessible sourc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2973958" y="2104821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2883807" y="2802857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2960007" y="2853657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048907" y="290445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504269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2915386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119622" y="1187171"/>
            <a:ext cx="2259736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Multiple Complex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4694594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262911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722954" y="1142725"/>
            <a:ext cx="2153288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Comprehensive analysis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generated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102047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167755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226184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208911" y="4248659"/>
            <a:ext cx="310339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42" name="B4P">
            <a:extLst>
              <a:ext uri="{FF2B5EF4-FFF2-40B4-BE49-F238E27FC236}">
                <a16:creationId xmlns:a16="http://schemas.microsoft.com/office/drawing/2014/main" id="{EE332527-FD0B-4C03-99FD-BBE36D0D5257}"/>
              </a:ext>
            </a:extLst>
          </p:cNvPr>
          <p:cNvSpPr txBox="1"/>
          <p:nvPr/>
        </p:nvSpPr>
        <p:spPr>
          <a:xfrm>
            <a:off x="4952254" y="2343213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271264" y="2785395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258564" y="334678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281168" y="219457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7803162" y="2548889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/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7805169" y="3303026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/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3769695" y="2845021"/>
            <a:ext cx="555856" cy="370108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092302" y="2836399"/>
            <a:ext cx="555856" cy="370108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732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 Program Example 3</a:t>
            </a:r>
            <a:br>
              <a:rPr lang="en-US" dirty="0"/>
            </a:br>
            <a:r>
              <a:rPr lang="en-US" dirty="0"/>
              <a:t>Stock Data (SP 500 and NASDAQ 100) Combine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www.slickcharts.com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nasdaq100</a:t>
            </a:r>
            <a:r>
              <a:rPr lang="de-CH" dirty="0"/>
              <a:t>, </a:t>
            </a: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www.slickcharts.com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sp500</a:t>
            </a:r>
            <a:r>
              <a:rPr lang="de-CH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980728"/>
            <a:ext cx="8439306" cy="489654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1CDA6645-DA10-4913-B3B4-93D1E5E20DC1}"/>
              </a:ext>
            </a:extLst>
          </p:cNvPr>
          <p:cNvSpPr/>
          <p:nvPr/>
        </p:nvSpPr>
        <p:spPr>
          <a:xfrm>
            <a:off x="6672064" y="3068960"/>
            <a:ext cx="5328592" cy="27363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SP 500 and NASDAQ 100 Stock Market Data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from the Internet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he illustration on the left shows the first few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 err="1">
                <a:solidFill>
                  <a:schemeClr val="tx1"/>
                </a:solidFill>
              </a:rPr>
              <a:t>SP500</a:t>
            </a:r>
            <a:r>
              <a:rPr lang="en-US" sz="1600" dirty="0">
                <a:solidFill>
                  <a:schemeClr val="tx1"/>
                </a:solidFill>
              </a:rPr>
              <a:t> stock market listing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No manual preparations required on the downloade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web content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me companies are listed in both markets, others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in just one of them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ombine the data into one table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3</a:t>
            </a:r>
            <a:br>
              <a:rPr lang="en-US" dirty="0"/>
            </a:br>
            <a:r>
              <a:rPr lang="en-US" dirty="0"/>
              <a:t>21 Statements, 1 loop and 1 variable do the Job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479376" y="980728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1: 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listing[]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+ listing[], listing[] + .html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listing[] ,listing[] + .html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listing[]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listing[], listing[]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2: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3: 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Percent value gets converted to regular number, price value i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ne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4: Add some color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5: 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gram Example 3</a:t>
            </a:r>
            <a:br>
              <a:rPr lang="en-US" dirty="0"/>
            </a:br>
            <a:r>
              <a:rPr lang="en-US" dirty="0"/>
              <a:t>Stock Market Data - Result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F733AE1-9C93-4679-A1A2-D33775160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052736"/>
            <a:ext cx="7400925" cy="38290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02DD87A-7771-4CFF-8CA7-AFD06FDA3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5229200"/>
            <a:ext cx="7400925" cy="5905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A63B8CA-8BAA-4807-99B3-23DB9EB5D132}"/>
              </a:ext>
            </a:extLst>
          </p:cNvPr>
          <p:cNvSpPr/>
          <p:nvPr/>
        </p:nvSpPr>
        <p:spPr>
          <a:xfrm>
            <a:off x="551384" y="4941168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F1261F2-932E-4582-B6C9-1A0C5834BC0F}"/>
              </a:ext>
            </a:extLst>
          </p:cNvPr>
          <p:cNvSpPr/>
          <p:nvPr/>
        </p:nvSpPr>
        <p:spPr>
          <a:xfrm>
            <a:off x="8040216" y="2132856"/>
            <a:ext cx="3960440" cy="338437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ne with 21 </a:t>
            </a:r>
            <a:r>
              <a:rPr lang="en-US" sz="1600" b="1" dirty="0" err="1">
                <a:solidFill>
                  <a:schemeClr val="tx1"/>
                </a:solidFill>
              </a:rPr>
              <a:t>B4P</a:t>
            </a:r>
            <a:r>
              <a:rPr lang="en-US" sz="1600" b="1" dirty="0">
                <a:solidFill>
                  <a:schemeClr val="tx1"/>
                </a:solidFill>
              </a:rPr>
              <a:t> statements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Sorted by alphabetically by company name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Both SP and Nasdaq weightings are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listed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Percentages are shown in Excel as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umeric data using percent number forma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Header row highlighted, frozen and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 err="1">
                <a:solidFill>
                  <a:schemeClr val="tx1"/>
                </a:solidFill>
              </a:rPr>
              <a:t>autofilter</a:t>
            </a:r>
            <a:r>
              <a:rPr lang="en-US" sz="1600" dirty="0">
                <a:solidFill>
                  <a:schemeClr val="tx1"/>
                </a:solidFill>
              </a:rPr>
              <a:t> applie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Colors added to highlight changes</a:t>
            </a:r>
          </a:p>
        </p:txBody>
      </p:sp>
    </p:spTree>
    <p:extLst>
      <p:ext uri="{BB962C8B-B14F-4D97-AF65-F5344CB8AC3E}">
        <p14:creationId xmlns:p14="http://schemas.microsoft.com/office/powerpoint/2010/main" val="1696914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4827834" y="2999601"/>
            <a:ext cx="31200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mrich5@gmail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50097" y="2991749"/>
            <a:ext cx="2831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zur-bonsen@bluewin.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F36DB96-5F81-A64A-B4C0-ED4F31F94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Technical notes</a:t>
            </a:r>
          </a:p>
        </p:txBody>
      </p:sp>
    </p:spTree>
    <p:extLst>
      <p:ext uri="{BB962C8B-B14F-4D97-AF65-F5344CB8AC3E}">
        <p14:creationId xmlns:p14="http://schemas.microsoft.com/office/powerpoint/2010/main" val="34865696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>
                <a:solidFill>
                  <a:srgbClr val="0070C0"/>
                </a:solidFill>
              </a:rPr>
              <a:t>B4P </a:t>
            </a:r>
            <a:r>
              <a:rPr lang="en-AE" dirty="0">
                <a:solidFill>
                  <a:srgbClr val="0070C0"/>
                </a:solidFill>
              </a:rPr>
              <a:t>– Beyond Former Performance</a:t>
            </a:r>
            <a:br>
              <a:rPr lang="en-AE" dirty="0"/>
            </a:br>
            <a:r>
              <a:rPr lang="en-AE" dirty="0"/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r>
              <a:rPr lang="en-AE" sz="1400" dirty="0">
                <a:solidFill>
                  <a:schemeClr val="tx1"/>
                </a:solidFill>
              </a:rPr>
              <a:t>'</a:t>
            </a: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Use Case</a:t>
            </a:r>
            <a:br>
              <a:rPr lang="en-US" dirty="0"/>
            </a:br>
            <a:r>
              <a:rPr lang="en-US" dirty="0"/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3" name="Pfeil: nach rechts 222">
            <a:extLst>
              <a:ext uri="{FF2B5EF4-FFF2-40B4-BE49-F238E27FC236}">
                <a16:creationId xmlns:a16="http://schemas.microsoft.com/office/drawing/2014/main" id="{6D89C1EC-CF12-447E-BC8D-C8872B6EEC99}"/>
              </a:ext>
            </a:extLst>
          </p:cNvPr>
          <p:cNvSpPr/>
          <p:nvPr/>
        </p:nvSpPr>
        <p:spPr>
          <a:xfrm>
            <a:off x="4944000" y="3789000"/>
            <a:ext cx="1224000" cy="9360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r>
              <a:rPr lang="en-US" dirty="0">
                <a:solidFill>
                  <a:schemeClr val="tx1"/>
                </a:solidFill>
              </a:rPr>
              <a:t> Use Case</a:t>
            </a:r>
            <a:br>
              <a:rPr lang="en-US" dirty="0"/>
            </a:br>
            <a:r>
              <a:rPr lang="en-US" dirty="0"/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using </a:t>
            </a:r>
            <a:r>
              <a:rPr lang="en-US" dirty="0" err="1"/>
              <a:t>B4P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icons</a:t>
            </a:r>
            <a:r>
              <a:rPr lang="de-CH" dirty="0"/>
              <a:t>: source: </a:t>
            </a:r>
            <a:r>
              <a:rPr lang="de-CH" dirty="0" err="1"/>
              <a:t>flaticon.com</a:t>
            </a:r>
            <a:r>
              <a:rPr lang="de-CH" dirty="0"/>
              <a:t> 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C970F887-082C-4A65-A0E3-C3787F98F32C}"/>
              </a:ext>
            </a:extLst>
          </p:cNvPr>
          <p:cNvSpPr/>
          <p:nvPr/>
        </p:nvSpPr>
        <p:spPr>
          <a:xfrm>
            <a:off x="3863752" y="1269040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pecifies all manuals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pecifies location of sourc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/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scriptions of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Collect all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3" name="Flussdiagramm: Zentralspeicher 192">
            <a:extLst>
              <a:ext uri="{FF2B5EF4-FFF2-40B4-BE49-F238E27FC236}">
                <a16:creationId xmlns:a16="http://schemas.microsoft.com/office/drawing/2014/main" id="{80C3F823-F0F5-4F05-881E-E123C14A7E32}"/>
              </a:ext>
            </a:extLst>
          </p:cNvPr>
          <p:cNvSpPr/>
          <p:nvPr/>
        </p:nvSpPr>
        <p:spPr>
          <a:xfrm>
            <a:off x="3864112" y="4149016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oth user     an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bg1"/>
                </a:solidFill>
              </a:rPr>
              <a:t>Revolving </a:t>
            </a:r>
            <a:r>
              <a:rPr lang="en-US" sz="1100" b="1" dirty="0" err="1">
                <a:solidFill>
                  <a:schemeClr val="bg1"/>
                </a:solidFill>
              </a:rPr>
              <a:t>ToC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Process Revolving </a:t>
            </a:r>
            <a:r>
              <a:rPr lang="en-US" sz="1000" b="1" dirty="0" err="1">
                <a:solidFill>
                  <a:schemeClr val="tx1"/>
                </a:solidFill>
              </a:rPr>
              <a:t>ToC</a:t>
            </a:r>
            <a:endParaRPr lang="en-US" sz="10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Create HTML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Generate HTML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00FF"/>
                </a:solidFill>
              </a:rPr>
              <a:t>Execute all </a:t>
            </a:r>
            <a:r>
              <a:rPr lang="en-US" sz="1000" dirty="0" err="1">
                <a:solidFill>
                  <a:srgbClr val="0000FF"/>
                </a:solidFill>
              </a:rPr>
              <a:t>B4P</a:t>
            </a:r>
            <a:r>
              <a:rPr lang="en-US" sz="1000" dirty="0">
                <a:solidFill>
                  <a:srgbClr val="0000FF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/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/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/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ll files (HTML, JPG, </a:t>
            </a:r>
            <a:r>
              <a:rPr lang="en-US" sz="1000" dirty="0" err="1">
                <a:solidFill>
                  <a:schemeClr val="tx1"/>
                </a:solidFill>
              </a:rPr>
              <a:t>style.css</a:t>
            </a:r>
            <a:r>
              <a:rPr lang="en-US" sz="1000" dirty="0">
                <a:solidFill>
                  <a:schemeClr val="tx1"/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/>
                </a:solidFill>
              </a:rPr>
              <a:t>mouseclick</a:t>
            </a:r>
            <a:r>
              <a:rPr lang="en-US" sz="1000" dirty="0">
                <a:solidFill>
                  <a:schemeClr val="tx1"/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/>
                </a:solidFill>
                <a:hlinkClick r:id="rId2"/>
              </a:rPr>
              <a:t>www.b4p.ap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4872000" y="3717000"/>
            <a:ext cx="410623" cy="332683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Problem Statement</a:t>
            </a:r>
            <a:br>
              <a:rPr lang="en-US" dirty="0"/>
            </a:br>
            <a:r>
              <a:rPr lang="en-US" dirty="0"/>
              <a:t>Conventional methods do not address challenges of data managemen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4824536" cy="360040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manually, etc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479376" y="2348880"/>
            <a:ext cx="14401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ly or semi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3071664" y="414908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2351584" y="14847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umbersome Exported Data</a:t>
            </a:r>
            <a:r>
              <a:rPr lang="en-US" sz="1000" dirty="0">
                <a:solidFill>
                  <a:schemeClr val="tx1"/>
                </a:solidFill>
              </a:rPr>
              <a:t> from databases if used directly to work with (e.g. limited formatting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2351584" y="4869160"/>
            <a:ext cx="165618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on the results, incl. comments, etc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3143672" y="32849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</a:t>
            </a:r>
            <a:r>
              <a:rPr lang="en-US" sz="1000" dirty="0">
                <a:solidFill>
                  <a:schemeClr val="tx1"/>
                </a:solidFill>
              </a:rPr>
              <a:t> data on Excel.  Time-consuming analysis of multiple lists along the timeli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2279576" y="2204864"/>
            <a:ext cx="122413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s lost</a:t>
            </a:r>
            <a:r>
              <a:rPr lang="en-US" sz="1000" dirty="0">
                <a:solidFill>
                  <a:schemeClr val="tx1"/>
                </a:solidFill>
              </a:rPr>
              <a:t>, e.g. </a:t>
            </a: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3719736" y="2276872"/>
            <a:ext cx="158417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</a:t>
            </a:r>
            <a:r>
              <a:rPr lang="en-US" sz="1000" dirty="0">
                <a:solidFill>
                  <a:schemeClr val="tx1"/>
                </a:solidFill>
              </a:rPr>
              <a:t>data formats! Excel cannot read it in or use it directly, data alignment needed. 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479376" y="3212976"/>
            <a:ext cx="122413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 </a:t>
            </a:r>
            <a:r>
              <a:rPr lang="en-US" sz="1000" dirty="0">
                <a:solidFill>
                  <a:schemeClr val="tx1"/>
                </a:solidFill>
              </a:rPr>
              <a:t>in order to see the big picture effectively, do various lookup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endCxn id="6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stCxn id="6" idx="3"/>
            <a:endCxn id="9" idx="1"/>
          </p:cNvCxnSpPr>
          <p:nvPr/>
        </p:nvCxnSpPr>
        <p:spPr>
          <a:xfrm>
            <a:off x="1919536" y="1772816"/>
            <a:ext cx="432048" cy="360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stCxn id="9" idx="3"/>
            <a:endCxn id="13" idx="0"/>
          </p:cNvCxnSpPr>
          <p:nvPr/>
        </p:nvCxnSpPr>
        <p:spPr>
          <a:xfrm>
            <a:off x="4223792" y="1808820"/>
            <a:ext cx="288032" cy="46805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1919536" y="2600908"/>
            <a:ext cx="180020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endCxn id="11" idx="1"/>
          </p:cNvCxnSpPr>
          <p:nvPr/>
        </p:nvCxnSpPr>
        <p:spPr>
          <a:xfrm>
            <a:off x="1703512" y="3429000"/>
            <a:ext cx="1440160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2063552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71F817C-A93F-4D9E-BAF2-BF91CC8F2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stCxn id="7" idx="3"/>
          </p:cNvCxnSpPr>
          <p:nvPr/>
        </p:nvCxnSpPr>
        <p:spPr>
          <a:xfrm>
            <a:off x="1919536" y="2600908"/>
            <a:ext cx="144016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endCxn id="12" idx="1"/>
          </p:cNvCxnSpPr>
          <p:nvPr/>
        </p:nvCxnSpPr>
        <p:spPr>
          <a:xfrm flipV="1">
            <a:off x="1919536" y="2420888"/>
            <a:ext cx="36004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stCxn id="26" idx="3"/>
            <a:endCxn id="8" idx="1"/>
          </p:cNvCxnSpPr>
          <p:nvPr/>
        </p:nvCxnSpPr>
        <p:spPr>
          <a:xfrm flipV="1">
            <a:off x="2279576" y="4401108"/>
            <a:ext cx="792088" cy="36004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407368" y="450912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stCxn id="11" idx="2"/>
            <a:endCxn id="8" idx="0"/>
          </p:cNvCxnSpPr>
          <p:nvPr/>
        </p:nvCxnSpPr>
        <p:spPr>
          <a:xfrm flipH="1">
            <a:off x="4007768" y="3933056"/>
            <a:ext cx="7200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>
            <a:off x="1091444" y="4221088"/>
            <a:ext cx="252028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endCxn id="8" idx="1"/>
          </p:cNvCxnSpPr>
          <p:nvPr/>
        </p:nvCxnSpPr>
        <p:spPr>
          <a:xfrm>
            <a:off x="1703512" y="3717032"/>
            <a:ext cx="1368152" cy="684076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stCxn id="26" idx="3"/>
          </p:cNvCxnSpPr>
          <p:nvPr/>
        </p:nvCxnSpPr>
        <p:spPr>
          <a:xfrm>
            <a:off x="2279576" y="4761148"/>
            <a:ext cx="504056" cy="10801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stCxn id="8" idx="2"/>
          </p:cNvCxnSpPr>
          <p:nvPr/>
        </p:nvCxnSpPr>
        <p:spPr>
          <a:xfrm flipH="1">
            <a:off x="3719736" y="4653136"/>
            <a:ext cx="288032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1847529" y="3573016"/>
            <a:ext cx="1080120" cy="792088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slow with big data</a:t>
            </a:r>
            <a:r>
              <a:rPr lang="en-US" sz="1000" dirty="0">
                <a:solidFill>
                  <a:schemeClr val="tx1"/>
                </a:solidFill>
              </a:rPr>
              <a:t> when loading and processing (3’000 … &gt; 10 M rows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endCxn id="21" idx="1"/>
          </p:cNvCxnSpPr>
          <p:nvPr/>
        </p:nvCxnSpPr>
        <p:spPr>
          <a:xfrm flipV="1">
            <a:off x="1703512" y="2996952"/>
            <a:ext cx="360040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Possible Solutions ?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CBA56D5-4068-4FBE-AFF2-FF88A4E25DAC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OK for simple tasks, but cumbersome code and very slow when doing sophisticated work on big data.  E.g. combining 2 tables into 1 creates a lot of effort !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Visual Basic macros can become sophisticated and deliver poor performanc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Computer Program (C, Java, Python)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ustom software will get the job done very fast after you have spent significant time to write the program, debug it and get it running.  Difficult for others to understand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gram text tend to get very big. You need to worry about every functional detail. And it takes a lot of time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You need good programming know-how, including object oriented programming, and a suitable development environment with language compiler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High performance, but very elaborate task until you have finalized your program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 or two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nsultants are happy to solve your problems against cash.  They will offer decent solu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f you need further enhancements in the future, they ask for more cash.  You will depend on them.   And bother your boss to get further </a:t>
            </a:r>
            <a:r>
              <a:rPr lang="en-US" sz="1200" dirty="0" err="1">
                <a:solidFill>
                  <a:schemeClr val="tx1"/>
                </a:solidFill>
              </a:rPr>
              <a:t>spendings</a:t>
            </a:r>
            <a:r>
              <a:rPr lang="en-US" sz="1200" dirty="0">
                <a:solidFill>
                  <a:schemeClr val="tx1"/>
                </a:solidFill>
              </a:rPr>
              <a:t> approved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Money and time required until one problem solving has been accomplished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stCxn id="10" idx="2"/>
          </p:cNvCxnSpPr>
          <p:nvPr/>
        </p:nvCxnSpPr>
        <p:spPr>
          <a:xfrm flipH="1">
            <a:off x="2999656" y="5373216"/>
            <a:ext cx="18002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endCxn id="11" idx="0"/>
          </p:cNvCxnSpPr>
          <p:nvPr/>
        </p:nvCxnSpPr>
        <p:spPr>
          <a:xfrm>
            <a:off x="3647728" y="3068960"/>
            <a:ext cx="43204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1015539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>
            <a:off x="796036" y="2852257"/>
            <a:ext cx="475428" cy="360726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E3E1F010-7274-49F4-9640-7FB6AEE58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2127" y="5229200"/>
            <a:ext cx="933215" cy="6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Solution</a:t>
            </a:r>
            <a:br>
              <a:rPr lang="en-US" dirty="0"/>
            </a:br>
            <a:r>
              <a:rPr lang="en-US" dirty="0"/>
              <a:t>Automate manual data integration and managemen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rive smart results from many sourc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7803802-64A1-4400-BBF7-35BBE1170B2E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ownloading several files from different databases</a:t>
            </a:r>
            <a:r>
              <a:rPr lang="en-US" sz="1200" dirty="0">
                <a:solidFill>
                  <a:schemeClr val="tx1"/>
                </a:solidFill>
              </a:rPr>
              <a:t> (many mouse clicks, etc.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ecking and cleaning up </a:t>
            </a:r>
            <a:r>
              <a:rPr lang="en-US" sz="1200" dirty="0">
                <a:solidFill>
                  <a:schemeClr val="tx1"/>
                </a:solidFill>
              </a:rPr>
              <a:t>data receive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solving data inconsistencies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fforts to collect </a:t>
            </a:r>
            <a:r>
              <a:rPr lang="en-US" sz="1200" b="1" dirty="0">
                <a:solidFill>
                  <a:schemeClr val="tx1"/>
                </a:solidFill>
              </a:rPr>
              <a:t>missing information </a:t>
            </a:r>
            <a:r>
              <a:rPr lang="en-US" sz="1200" dirty="0">
                <a:solidFill>
                  <a:schemeClr val="tx1"/>
                </a:solidFill>
              </a:rPr>
              <a:t>and to fill up gaps (e.g. interpolation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petitive </a:t>
            </a:r>
            <a:r>
              <a:rPr lang="en-US" sz="1200" dirty="0">
                <a:solidFill>
                  <a:schemeClr val="tx1"/>
                </a:solidFill>
              </a:rPr>
              <a:t>manual steps to combine and align the data from multiple sourc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ing on Excel and similar tool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isk of doing </a:t>
            </a:r>
            <a:r>
              <a:rPr lang="en-US" sz="1200" b="1" dirty="0">
                <a:solidFill>
                  <a:schemeClr val="tx1"/>
                </a:solidFill>
              </a:rPr>
              <a:t>mistakes </a:t>
            </a:r>
            <a:r>
              <a:rPr lang="en-US" sz="1200" dirty="0">
                <a:solidFill>
                  <a:schemeClr val="tx1"/>
                </a:solidFill>
              </a:rPr>
              <a:t>with all the manual effor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oing consistency checks of the current data and identifying the changes you did in the previous reporting perio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and-tailored Excel </a:t>
            </a:r>
            <a:r>
              <a:rPr lang="en-US" sz="1200" b="1" dirty="0">
                <a:solidFill>
                  <a:schemeClr val="tx1"/>
                </a:solidFill>
              </a:rPr>
              <a:t>macros going on strike </a:t>
            </a:r>
            <a:r>
              <a:rPr lang="en-US" sz="1200" dirty="0">
                <a:solidFill>
                  <a:schemeClr val="tx1"/>
                </a:solidFill>
              </a:rPr>
              <a:t>in case of minor data chan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Poor Excel performance</a:t>
            </a:r>
            <a:r>
              <a:rPr lang="en-US" sz="1200" dirty="0">
                <a:solidFill>
                  <a:schemeClr val="tx1"/>
                </a:solidFill>
              </a:rPr>
              <a:t> with </a:t>
            </a:r>
            <a:r>
              <a:rPr lang="en-US" sz="1200" b="1" dirty="0">
                <a:solidFill>
                  <a:schemeClr val="tx1"/>
                </a:solidFill>
              </a:rPr>
              <a:t>very large data se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Wasting time</a:t>
            </a:r>
            <a:r>
              <a:rPr lang="en-US" sz="1200" dirty="0">
                <a:solidFill>
                  <a:schemeClr val="tx1"/>
                </a:solidFill>
              </a:rPr>
              <a:t> waiting for poorly performing software / macros to complete the work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Time-consuming efforts </a:t>
            </a:r>
            <a:r>
              <a:rPr lang="en-US" sz="1200" dirty="0">
                <a:solidFill>
                  <a:schemeClr val="tx1"/>
                </a:solidFill>
              </a:rPr>
              <a:t>to undertake any other information refinements like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Doing some pivot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some statistic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time plans (e.g. production plans)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Eliminate information considered redundan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Making information ready for good visualization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Shaping up the data with style to make results easy to read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3730AD18-6E48-4737-BFA4-4FD180A9FCB8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Issue: Repeating and time-consuming manual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Flussdiagramm: Magnetplattenspeicher 44">
            <a:extLst>
              <a:ext uri="{FF2B5EF4-FFF2-40B4-BE49-F238E27FC236}">
                <a16:creationId xmlns:a16="http://schemas.microsoft.com/office/drawing/2014/main" id="{B1D30839-C56D-475E-98C9-BC2FABC879A3}"/>
              </a:ext>
            </a:extLst>
          </p:cNvPr>
          <p:cNvSpPr/>
          <p:nvPr/>
        </p:nvSpPr>
        <p:spPr>
          <a:xfrm>
            <a:off x="1415480" y="2060848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Flussdiagramm: Magnetplattenspeicher 45">
            <a:extLst>
              <a:ext uri="{FF2B5EF4-FFF2-40B4-BE49-F238E27FC236}">
                <a16:creationId xmlns:a16="http://schemas.microsoft.com/office/drawing/2014/main" id="{2EB5B61D-D913-475B-8075-9A57D0336C69}"/>
              </a:ext>
            </a:extLst>
          </p:cNvPr>
          <p:cNvSpPr/>
          <p:nvPr/>
        </p:nvSpPr>
        <p:spPr>
          <a:xfrm>
            <a:off x="1343472" y="2132856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ports</a:t>
            </a:r>
          </a:p>
        </p:txBody>
      </p:sp>
      <p:sp>
        <p:nvSpPr>
          <p:cNvPr id="47" name="Flussdiagramm: Mehrere Dokumente 46">
            <a:extLst>
              <a:ext uri="{FF2B5EF4-FFF2-40B4-BE49-F238E27FC236}">
                <a16:creationId xmlns:a16="http://schemas.microsoft.com/office/drawing/2014/main" id="{6E0C4791-F83D-4082-B4CB-D714386C6932}"/>
              </a:ext>
            </a:extLst>
          </p:cNvPr>
          <p:cNvSpPr/>
          <p:nvPr/>
        </p:nvSpPr>
        <p:spPr>
          <a:xfrm>
            <a:off x="2567608" y="2060848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cel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Lookup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mplates, etc.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88E49703-7EBB-4055-93E9-750DB1E443D1}"/>
              </a:ext>
            </a:extLst>
          </p:cNvPr>
          <p:cNvCxnSpPr>
            <a:cxnSpLocks/>
          </p:cNvCxnSpPr>
          <p:nvPr/>
        </p:nvCxnSpPr>
        <p:spPr>
          <a:xfrm>
            <a:off x="184752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4674D512-B973-4A9F-8E6D-B68CF375D06D}"/>
              </a:ext>
            </a:extLst>
          </p:cNvPr>
          <p:cNvSpPr/>
          <p:nvPr/>
        </p:nvSpPr>
        <p:spPr>
          <a:xfrm>
            <a:off x="4079776" y="2132856"/>
            <a:ext cx="1152128" cy="648072"/>
          </a:xfrm>
          <a:prstGeom prst="rec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@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ternet Data Sources</a:t>
            </a: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54E533F-C4BD-4E43-8296-E5BC1FD6B8D7}"/>
              </a:ext>
            </a:extLst>
          </p:cNvPr>
          <p:cNvCxnSpPr>
            <a:cxnSpLocks/>
          </p:cNvCxnSpPr>
          <p:nvPr/>
        </p:nvCxnSpPr>
        <p:spPr>
          <a:xfrm>
            <a:off x="3143672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E53A4378-5699-40EE-ABE8-496FBCAF423F}"/>
              </a:ext>
            </a:extLst>
          </p:cNvPr>
          <p:cNvCxnSpPr>
            <a:cxnSpLocks/>
          </p:cNvCxnSpPr>
          <p:nvPr/>
        </p:nvCxnSpPr>
        <p:spPr>
          <a:xfrm>
            <a:off x="472784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D0452264-24F7-409D-AFDE-64D400D937AB}"/>
              </a:ext>
            </a:extLst>
          </p:cNvPr>
          <p:cNvSpPr/>
          <p:nvPr/>
        </p:nvSpPr>
        <p:spPr>
          <a:xfrm>
            <a:off x="479376" y="3284984"/>
            <a:ext cx="4752528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heck, combine and consolidate the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information to get results you nee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7" name="Flussdiagramm: Mehrere Dokumente 76">
            <a:extLst>
              <a:ext uri="{FF2B5EF4-FFF2-40B4-BE49-F238E27FC236}">
                <a16:creationId xmlns:a16="http://schemas.microsoft.com/office/drawing/2014/main" id="{538CCFCC-E1C8-4D3E-8F7F-CCCF7683727F}"/>
              </a:ext>
            </a:extLst>
          </p:cNvPr>
          <p:cNvSpPr/>
          <p:nvPr/>
        </p:nvSpPr>
        <p:spPr>
          <a:xfrm>
            <a:off x="3143672" y="4365104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Output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report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(Excel, HTML,...)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18F0694B-CDCE-4753-B635-17EA60E10DEF}"/>
              </a:ext>
            </a:extLst>
          </p:cNvPr>
          <p:cNvCxnSpPr>
            <a:cxnSpLocks/>
          </p:cNvCxnSpPr>
          <p:nvPr/>
        </p:nvCxnSpPr>
        <p:spPr>
          <a:xfrm>
            <a:off x="3791744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lussdiagramm: Magnetplattenspeicher 84">
            <a:extLst>
              <a:ext uri="{FF2B5EF4-FFF2-40B4-BE49-F238E27FC236}">
                <a16:creationId xmlns:a16="http://schemas.microsoft.com/office/drawing/2014/main" id="{3F0402F0-65EB-4636-816F-1B89B3F3F566}"/>
              </a:ext>
            </a:extLst>
          </p:cNvPr>
          <p:cNvSpPr/>
          <p:nvPr/>
        </p:nvSpPr>
        <p:spPr>
          <a:xfrm>
            <a:off x="1919536" y="4365104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Flussdiagramm: Magnetplattenspeicher 85">
            <a:extLst>
              <a:ext uri="{FF2B5EF4-FFF2-40B4-BE49-F238E27FC236}">
                <a16:creationId xmlns:a16="http://schemas.microsoft.com/office/drawing/2014/main" id="{33EEAED3-7836-4908-A7E7-FD5A8914767C}"/>
              </a:ext>
            </a:extLst>
          </p:cNvPr>
          <p:cNvSpPr/>
          <p:nvPr/>
        </p:nvSpPr>
        <p:spPr>
          <a:xfrm>
            <a:off x="1847528" y="4437112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pdat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s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8309020-EFE7-4B85-AAFA-30DBD45F623F}"/>
              </a:ext>
            </a:extLst>
          </p:cNvPr>
          <p:cNvCxnSpPr>
            <a:cxnSpLocks/>
          </p:cNvCxnSpPr>
          <p:nvPr/>
        </p:nvCxnSpPr>
        <p:spPr>
          <a:xfrm>
            <a:off x="2351584" y="3861048"/>
            <a:ext cx="0" cy="7200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lussdiagramm: Manuelle Eingabe 92">
            <a:extLst>
              <a:ext uri="{FF2B5EF4-FFF2-40B4-BE49-F238E27FC236}">
                <a16:creationId xmlns:a16="http://schemas.microsoft.com/office/drawing/2014/main" id="{10D89BD5-47AE-4F82-8B21-EFE8CE0B120F}"/>
              </a:ext>
            </a:extLst>
          </p:cNvPr>
          <p:cNvSpPr/>
          <p:nvPr/>
        </p:nvSpPr>
        <p:spPr>
          <a:xfrm>
            <a:off x="479376" y="2852936"/>
            <a:ext cx="792088" cy="288032"/>
          </a:xfrm>
          <a:prstGeom prst="flowChartManualInpu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ser input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3705EF80-0613-42AE-90DA-1AF5A9D006FF}"/>
              </a:ext>
            </a:extLst>
          </p:cNvPr>
          <p:cNvCxnSpPr>
            <a:cxnSpLocks/>
          </p:cNvCxnSpPr>
          <p:nvPr/>
        </p:nvCxnSpPr>
        <p:spPr>
          <a:xfrm>
            <a:off x="1559496" y="3068960"/>
            <a:ext cx="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1DA73E15-9186-4976-BFDF-475BA229A098}"/>
              </a:ext>
            </a:extLst>
          </p:cNvPr>
          <p:cNvCxnSpPr>
            <a:cxnSpLocks/>
          </p:cNvCxnSpPr>
          <p:nvPr/>
        </p:nvCxnSpPr>
        <p:spPr>
          <a:xfrm>
            <a:off x="1271464" y="3068960"/>
            <a:ext cx="288032" cy="0"/>
          </a:xfrm>
          <a:prstGeom prst="straightConnector1">
            <a:avLst/>
          </a:prstGeom>
          <a:ln>
            <a:solidFill>
              <a:srgbClr val="00339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CD2CA72-A59F-477C-9BDD-DE6369FD4AD0}"/>
              </a:ext>
            </a:extLst>
          </p:cNvPr>
          <p:cNvCxnSpPr>
            <a:cxnSpLocks/>
          </p:cNvCxnSpPr>
          <p:nvPr/>
        </p:nvCxnSpPr>
        <p:spPr>
          <a:xfrm flipV="1">
            <a:off x="3935760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370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Solution</a:t>
            </a:r>
            <a:br>
              <a:rPr lang="en-US" dirty="0"/>
            </a:br>
            <a:r>
              <a:rPr lang="en-US" dirty="0"/>
              <a:t>Automate your processes to overcome all pain point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– Execution Engine and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e loops and variables as little as possibl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Execution Eng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xecution and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7" name="Group">
            <a:extLst>
              <a:ext uri="{FF2B5EF4-FFF2-40B4-BE49-F238E27FC236}">
                <a16:creationId xmlns:a16="http://schemas.microsoft.com/office/drawing/2014/main" id="{C104D124-6519-4DC9-BBDA-3237129138C3}"/>
              </a:ext>
            </a:extLst>
          </p:cNvPr>
          <p:cNvGrpSpPr/>
          <p:nvPr/>
        </p:nvGrpSpPr>
        <p:grpSpPr>
          <a:xfrm>
            <a:off x="6579652" y="1710391"/>
            <a:ext cx="3203946" cy="2681002"/>
            <a:chOff x="0" y="0"/>
            <a:chExt cx="3203945" cy="2087767"/>
          </a:xfrm>
        </p:grpSpPr>
        <p:sp>
          <p:nvSpPr>
            <p:cNvPr id="8" name="Rectangle">
              <a:extLst>
                <a:ext uri="{FF2B5EF4-FFF2-40B4-BE49-F238E27FC236}">
                  <a16:creationId xmlns:a16="http://schemas.microsoft.com/office/drawing/2014/main" id="{F07F97F8-8812-4CC6-B77F-7C42C5C42120}"/>
                </a:ext>
              </a:extLst>
            </p:cNvPr>
            <p:cNvSpPr/>
            <p:nvPr/>
          </p:nvSpPr>
          <p:spPr>
            <a:xfrm flipH="1">
              <a:off x="661489" y="653898"/>
              <a:ext cx="843410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Triangle">
              <a:extLst>
                <a:ext uri="{FF2B5EF4-FFF2-40B4-BE49-F238E27FC236}">
                  <a16:creationId xmlns:a16="http://schemas.microsoft.com/office/drawing/2014/main" id="{9857946F-80F1-424F-B073-DA65D5FE1FA1}"/>
                </a:ext>
              </a:extLst>
            </p:cNvPr>
            <p:cNvSpPr/>
            <p:nvPr/>
          </p:nvSpPr>
          <p:spPr>
            <a:xfrm flipH="1">
              <a:off x="0" y="0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Triangle">
              <a:extLst>
                <a:ext uri="{FF2B5EF4-FFF2-40B4-BE49-F238E27FC236}">
                  <a16:creationId xmlns:a16="http://schemas.microsoft.com/office/drawing/2014/main" id="{545B29C1-529E-4F43-88EB-AA8F64057B34}"/>
                </a:ext>
              </a:extLst>
            </p:cNvPr>
            <p:cNvSpPr/>
            <p:nvPr/>
          </p:nvSpPr>
          <p:spPr>
            <a:xfrm rot="10800000">
              <a:off x="0" y="1429797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48C4F838-B354-4445-AB84-9EF8D9240001}"/>
                </a:ext>
              </a:extLst>
            </p:cNvPr>
            <p:cNvSpPr/>
            <p:nvPr/>
          </p:nvSpPr>
          <p:spPr>
            <a:xfrm flipH="1">
              <a:off x="1498882" y="13825"/>
              <a:ext cx="1705064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12" name="Group">
            <a:extLst>
              <a:ext uri="{FF2B5EF4-FFF2-40B4-BE49-F238E27FC236}">
                <a16:creationId xmlns:a16="http://schemas.microsoft.com/office/drawing/2014/main" id="{4FCE368B-FFBB-4C48-90FB-31510E63BD21}"/>
              </a:ext>
            </a:extLst>
          </p:cNvPr>
          <p:cNvGrpSpPr/>
          <p:nvPr/>
        </p:nvGrpSpPr>
        <p:grpSpPr>
          <a:xfrm>
            <a:off x="1358662" y="1716929"/>
            <a:ext cx="3278092" cy="2681000"/>
            <a:chOff x="0" y="0"/>
            <a:chExt cx="3278090" cy="2087767"/>
          </a:xfrm>
        </p:grpSpPr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2CF12705-F121-4977-8B19-A16FA7E6BC9C}"/>
                </a:ext>
              </a:extLst>
            </p:cNvPr>
            <p:cNvSpPr/>
            <p:nvPr/>
          </p:nvSpPr>
          <p:spPr>
            <a:xfrm>
              <a:off x="1773192" y="653898"/>
              <a:ext cx="843411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Triangle">
              <a:extLst>
                <a:ext uri="{FF2B5EF4-FFF2-40B4-BE49-F238E27FC236}">
                  <a16:creationId xmlns:a16="http://schemas.microsoft.com/office/drawing/2014/main" id="{7A11FF00-8FD2-4B57-83FA-C1B699E464F4}"/>
                </a:ext>
              </a:extLst>
            </p:cNvPr>
            <p:cNvSpPr/>
            <p:nvPr/>
          </p:nvSpPr>
          <p:spPr>
            <a:xfrm>
              <a:off x="1777032" y="0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Triangle">
              <a:extLst>
                <a:ext uri="{FF2B5EF4-FFF2-40B4-BE49-F238E27FC236}">
                  <a16:creationId xmlns:a16="http://schemas.microsoft.com/office/drawing/2014/main" id="{A01F6982-9A09-4342-A82A-82F5B571EED3}"/>
                </a:ext>
              </a:extLst>
            </p:cNvPr>
            <p:cNvSpPr/>
            <p:nvPr/>
          </p:nvSpPr>
          <p:spPr>
            <a:xfrm rot="10800000" flipH="1">
              <a:off x="1777032" y="1429797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7C829226-E780-4880-893C-0BE0F483E681}"/>
                </a:ext>
              </a:extLst>
            </p:cNvPr>
            <p:cNvSpPr/>
            <p:nvPr/>
          </p:nvSpPr>
          <p:spPr>
            <a:xfrm>
              <a:off x="0" y="13825"/>
              <a:ext cx="1779208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3947136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649739" y="2112869"/>
            <a:ext cx="924383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651746" y="2867006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644238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21" name="TextBox 37">
            <a:extLst>
              <a:ext uri="{FF2B5EF4-FFF2-40B4-BE49-F238E27FC236}">
                <a16:creationId xmlns:a16="http://schemas.microsoft.com/office/drawing/2014/main" id="{CCE27BF0-2479-4C29-9B0F-9C39EEA546F3}"/>
              </a:ext>
            </a:extLst>
          </p:cNvPr>
          <p:cNvSpPr txBox="1"/>
          <p:nvPr/>
        </p:nvSpPr>
        <p:spPr>
          <a:xfrm>
            <a:off x="3085570" y="5301208"/>
            <a:ext cx="634784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data files:      Excel, XLS/XLSX, CSV/TSV, XML, JSON, HTML, MHTML, Zip, Text 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5806745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108397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/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382530" y="1608085"/>
            <a:ext cx="247133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sz="1600" dirty="0"/>
              <a:t>B4P Execution and Analytics Engine</a:t>
            </a:r>
          </a:p>
        </p:txBody>
      </p:sp>
      <p:sp>
        <p:nvSpPr>
          <p:cNvPr id="25" name="Triangle">
            <a:extLst>
              <a:ext uri="{FF2B5EF4-FFF2-40B4-BE49-F238E27FC236}">
                <a16:creationId xmlns:a16="http://schemas.microsoft.com/office/drawing/2014/main" id="{2111E9E1-7971-48B1-8E86-35F9FF3714EE}"/>
              </a:ext>
            </a:extLst>
          </p:cNvPr>
          <p:cNvSpPr/>
          <p:nvPr/>
        </p:nvSpPr>
        <p:spPr>
          <a:xfrm rot="5400000">
            <a:off x="5348171" y="2944420"/>
            <a:ext cx="538348" cy="777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65BF816-37AD-4199-AD9A-5660A00B4218}"/>
              </a:ext>
            </a:extLst>
          </p:cNvPr>
          <p:cNvSpPr txBox="1"/>
          <p:nvPr/>
        </p:nvSpPr>
        <p:spPr>
          <a:xfrm>
            <a:off x="3063122" y="5553236"/>
            <a:ext cx="413410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databases:    Salesforce, Oracle, SAP, Access, …</a:t>
            </a:r>
          </a:p>
        </p:txBody>
      </p:sp>
      <p:sp>
        <p:nvSpPr>
          <p:cNvPr id="27" name="TextBox 49">
            <a:extLst>
              <a:ext uri="{FF2B5EF4-FFF2-40B4-BE49-F238E27FC236}">
                <a16:creationId xmlns:a16="http://schemas.microsoft.com/office/drawing/2014/main" id="{DD261FA9-AFA2-4D01-88DB-6F2ECDA80663}"/>
              </a:ext>
            </a:extLst>
          </p:cNvPr>
          <p:cNvSpPr txBox="1"/>
          <p:nvPr/>
        </p:nvSpPr>
        <p:spPr>
          <a:xfrm>
            <a:off x="3085570" y="5805264"/>
            <a:ext cx="5326612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web data:      Data from any Internet accessible sourc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2973958" y="2104821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2883807" y="2802857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2960007" y="2853657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048907" y="290445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504269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2915386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119622" y="1187171"/>
            <a:ext cx="2259736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Multiple Complex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4694594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262911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722954" y="1142725"/>
            <a:ext cx="2153288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Comprehensive analysis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dirty="0"/>
              <a:t>generated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102047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167755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226184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208911" y="4248659"/>
            <a:ext cx="310339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42" name="B4P">
            <a:extLst>
              <a:ext uri="{FF2B5EF4-FFF2-40B4-BE49-F238E27FC236}">
                <a16:creationId xmlns:a16="http://schemas.microsoft.com/office/drawing/2014/main" id="{EE332527-FD0B-4C03-99FD-BBE36D0D5257}"/>
              </a:ext>
            </a:extLst>
          </p:cNvPr>
          <p:cNvSpPr txBox="1"/>
          <p:nvPr/>
        </p:nvSpPr>
        <p:spPr>
          <a:xfrm>
            <a:off x="4952254" y="2343213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271264" y="2785395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258564" y="334678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281168" y="219457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7803162" y="2548889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/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7805169" y="3303026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/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3769695" y="2845021"/>
            <a:ext cx="555856" cy="370108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092302" y="2836399"/>
            <a:ext cx="555856" cy="370108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87595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</a:t>
            </a:r>
            <a:br>
              <a:rPr lang="en-US" dirty="0"/>
            </a:br>
            <a:r>
              <a:rPr lang="en-US" dirty="0"/>
              <a:t>The Execution Engine – A Typical Workflow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5BC20ECB-FA0C-467A-992B-E4387490DD61}"/>
              </a:ext>
            </a:extLst>
          </p:cNvPr>
          <p:cNvSpPr/>
          <p:nvPr/>
        </p:nvSpPr>
        <p:spPr>
          <a:xfrm>
            <a:off x="47937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4C776A-D143-4057-A42A-598B04863964}"/>
              </a:ext>
            </a:extLst>
          </p:cNvPr>
          <p:cNvSpPr/>
          <p:nvPr/>
        </p:nvSpPr>
        <p:spPr>
          <a:xfrm>
            <a:off x="191953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074DC2C-A4D5-4B6C-9B50-9D3FE364B9CC}"/>
              </a:ext>
            </a:extLst>
          </p:cNvPr>
          <p:cNvSpPr/>
          <p:nvPr/>
        </p:nvSpPr>
        <p:spPr>
          <a:xfrm>
            <a:off x="7680192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C029156-1ADB-4E73-9C7C-883D05088F0F}"/>
              </a:ext>
            </a:extLst>
          </p:cNvPr>
          <p:cNvSpPr/>
          <p:nvPr/>
        </p:nvSpPr>
        <p:spPr>
          <a:xfrm>
            <a:off x="10538974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33316A5A-F88C-42EF-96AE-9BF4E28D947E}"/>
              </a:ext>
            </a:extLst>
          </p:cNvPr>
          <p:cNvSpPr/>
          <p:nvPr/>
        </p:nvSpPr>
        <p:spPr>
          <a:xfrm rot="5400000">
            <a:off x="1703376" y="2708888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92314ED4-6EA1-4F15-A218-7961BD7EDC46}"/>
              </a:ext>
            </a:extLst>
          </p:cNvPr>
          <p:cNvSpPr/>
          <p:nvPr/>
        </p:nvSpPr>
        <p:spPr>
          <a:xfrm rot="5400000">
            <a:off x="746415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6" name="Gleichschenkliges Dreieck 55">
            <a:extLst>
              <a:ext uri="{FF2B5EF4-FFF2-40B4-BE49-F238E27FC236}">
                <a16:creationId xmlns:a16="http://schemas.microsoft.com/office/drawing/2014/main" id="{A3283359-37F3-4ED0-9BBD-70F0492319A5}"/>
              </a:ext>
            </a:extLst>
          </p:cNvPr>
          <p:cNvSpPr/>
          <p:nvPr/>
        </p:nvSpPr>
        <p:spPr>
          <a:xfrm rot="5400000">
            <a:off x="10343600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39EDE6E3-05E3-4749-A08C-BEEE6161247D}"/>
              </a:ext>
            </a:extLst>
          </p:cNvPr>
          <p:cNvCxnSpPr>
            <a:cxnSpLocks/>
          </p:cNvCxnSpPr>
          <p:nvPr/>
        </p:nvCxnSpPr>
        <p:spPr>
          <a:xfrm>
            <a:off x="479376" y="2420888"/>
            <a:ext cx="1116124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F312CF00-CD03-4BF2-A96C-80A030F0A567}"/>
              </a:ext>
            </a:extLst>
          </p:cNvPr>
          <p:cNvSpPr/>
          <p:nvPr/>
        </p:nvSpPr>
        <p:spPr>
          <a:xfrm>
            <a:off x="335969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4F070D5A-9032-4193-BE87-F1588F5286CB}"/>
              </a:ext>
            </a:extLst>
          </p:cNvPr>
          <p:cNvSpPr/>
          <p:nvPr/>
        </p:nvSpPr>
        <p:spPr>
          <a:xfrm rot="5400000">
            <a:off x="314355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AD191F4F-5C46-4B7E-AD13-FDA64D5B2434}"/>
              </a:ext>
            </a:extLst>
          </p:cNvPr>
          <p:cNvSpPr/>
          <p:nvPr/>
        </p:nvSpPr>
        <p:spPr>
          <a:xfrm>
            <a:off x="6240128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1" name="Gleichschenkliges Dreieck 60">
            <a:extLst>
              <a:ext uri="{FF2B5EF4-FFF2-40B4-BE49-F238E27FC236}">
                <a16:creationId xmlns:a16="http://schemas.microsoft.com/office/drawing/2014/main" id="{94FFF70D-6F09-413D-B24E-1E30B65B21FA}"/>
              </a:ext>
            </a:extLst>
          </p:cNvPr>
          <p:cNvSpPr/>
          <p:nvPr/>
        </p:nvSpPr>
        <p:spPr>
          <a:xfrm rot="5400000">
            <a:off x="4583832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2" name="Gleichschenkliges Dreieck 61">
            <a:extLst>
              <a:ext uri="{FF2B5EF4-FFF2-40B4-BE49-F238E27FC236}">
                <a16:creationId xmlns:a16="http://schemas.microsoft.com/office/drawing/2014/main" id="{E6007310-A271-46DD-9444-D38802CE68C9}"/>
              </a:ext>
            </a:extLst>
          </p:cNvPr>
          <p:cNvSpPr/>
          <p:nvPr/>
        </p:nvSpPr>
        <p:spPr>
          <a:xfrm rot="5400000">
            <a:off x="6023888" y="2708888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1BDD5BD-9963-4F25-B2C0-8641C007BE87}"/>
              </a:ext>
            </a:extLst>
          </p:cNvPr>
          <p:cNvSpPr/>
          <p:nvPr/>
        </p:nvSpPr>
        <p:spPr>
          <a:xfrm>
            <a:off x="4799856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1CC1630-21A2-4D35-A7A7-BF85D01A9C79}"/>
              </a:ext>
            </a:extLst>
          </p:cNvPr>
          <p:cNvSpPr/>
          <p:nvPr/>
        </p:nvSpPr>
        <p:spPr>
          <a:xfrm>
            <a:off x="9119584" y="2564888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65" name="Gleichschenkliges Dreieck 64">
            <a:extLst>
              <a:ext uri="{FF2B5EF4-FFF2-40B4-BE49-F238E27FC236}">
                <a16:creationId xmlns:a16="http://schemas.microsoft.com/office/drawing/2014/main" id="{FD409B93-9F24-4E70-BB31-0D285B4E2BE1}"/>
              </a:ext>
            </a:extLst>
          </p:cNvPr>
          <p:cNvSpPr/>
          <p:nvPr/>
        </p:nvSpPr>
        <p:spPr>
          <a:xfrm rot="5400000">
            <a:off x="8879025" y="2708904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F7B2D716-15FC-4B9A-A38E-A4EA63ACE096}"/>
              </a:ext>
            </a:extLst>
          </p:cNvPr>
          <p:cNvSpPr/>
          <p:nvPr/>
        </p:nvSpPr>
        <p:spPr>
          <a:xfrm>
            <a:off x="47937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bas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85CF8919-E2B7-4904-A832-F7D2F7D73A1B}"/>
              </a:ext>
            </a:extLst>
          </p:cNvPr>
          <p:cNvSpPr/>
          <p:nvPr/>
        </p:nvSpPr>
        <p:spPr>
          <a:xfrm>
            <a:off x="191953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resolve  duplication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1185824-4574-4D7A-98E8-B7F62E0E2AA1}"/>
              </a:ext>
            </a:extLst>
          </p:cNvPr>
          <p:cNvSpPr/>
          <p:nvPr/>
        </p:nvSpPr>
        <p:spPr>
          <a:xfrm>
            <a:off x="335969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eviating terminologie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F121A28-2887-40FD-800E-9AB11F647DCB}"/>
              </a:ext>
            </a:extLst>
          </p:cNvPr>
          <p:cNvSpPr/>
          <p:nvPr/>
        </p:nvSpPr>
        <p:spPr>
          <a:xfrm>
            <a:off x="479985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BDA488B-7698-4814-AE81-C7A9B64410F8}"/>
              </a:ext>
            </a:extLst>
          </p:cNvPr>
          <p:cNvSpPr/>
          <p:nvPr/>
        </p:nvSpPr>
        <p:spPr>
          <a:xfrm>
            <a:off x="6240128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12320A9E-6710-4658-994F-1AAF29064262}"/>
              </a:ext>
            </a:extLst>
          </p:cNvPr>
          <p:cNvSpPr/>
          <p:nvPr/>
        </p:nvSpPr>
        <p:spPr>
          <a:xfrm>
            <a:off x="768017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12F32946-6B51-4A89-963A-B892AEEDC7FB}"/>
              </a:ext>
            </a:extLst>
          </p:cNvPr>
          <p:cNvSpPr/>
          <p:nvPr/>
        </p:nvSpPr>
        <p:spPr>
          <a:xfrm>
            <a:off x="9120336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 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5E06EF2-9165-4EBE-8F91-3AB559F1B8FF}"/>
              </a:ext>
            </a:extLst>
          </p:cNvPr>
          <p:cNvSpPr/>
          <p:nvPr/>
        </p:nvSpPr>
        <p:spPr>
          <a:xfrm>
            <a:off x="10560608" y="3140888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E0380447-A90B-42FE-A0E1-F97FDE8593B0}"/>
              </a:ext>
            </a:extLst>
          </p:cNvPr>
          <p:cNvGrpSpPr/>
          <p:nvPr/>
        </p:nvGrpSpPr>
        <p:grpSpPr>
          <a:xfrm>
            <a:off x="10037121" y="1484784"/>
            <a:ext cx="755062" cy="1008048"/>
            <a:chOff x="7789696" y="1644240"/>
            <a:chExt cx="431444" cy="576000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5C1B4DFA-D9A5-481D-89AE-53E74FB8A50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76" name="Grafik 75">
              <a:extLst>
                <a:ext uri="{FF2B5EF4-FFF2-40B4-BE49-F238E27FC236}">
                  <a16:creationId xmlns:a16="http://schemas.microsoft.com/office/drawing/2014/main" id="{4CB627EF-88A6-44FE-A468-CECEEE3C5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0070C0"/>
                </a:solidFill>
              </a:rPr>
              <a:t>B4P</a:t>
            </a:r>
            <a:br>
              <a:rPr lang="en-US" dirty="0"/>
            </a:br>
            <a:r>
              <a:rPr lang="en-US" dirty="0"/>
              <a:t>Supported Data Format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(Excel 2003 XML forma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.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7F22C7C7-4B3B-4733-8F38-09710B34A5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832" y="1484784"/>
            <a:ext cx="360040" cy="36004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FD6787B-56BD-4B58-A377-DD19A6022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5976" y="1484784"/>
            <a:ext cx="360040" cy="36004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08732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Additional data formats can be supported on request, e.g. with a </a:t>
            </a:r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library extension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420968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357072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B4P Use Case</a:t>
            </a:r>
            <a:br>
              <a:rPr lang="en-US" dirty="0"/>
            </a:br>
            <a:r>
              <a:rPr lang="en-US" dirty="0"/>
              <a:t>Information interchange between multiple different databas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RP = Enterprise Resource Management Databases (e.g. SAP, Oracle, BAAN, Abacus)</a:t>
            </a:r>
          </a:p>
          <a:p>
            <a:r>
              <a:rPr lang="en-US"/>
              <a:t>CRM = Customer Relationship Database (e.g. Salesforce)</a:t>
            </a:r>
            <a:endParaRPr lang="en-US" dirty="0"/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636992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501088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853016"/>
            <a:ext cx="2160000" cy="72000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RM Clou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688528" y="2925024"/>
            <a:ext cx="720000" cy="432000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645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501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2925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781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213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069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296040" y="4869240"/>
            <a:ext cx="2160000" cy="72000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 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39331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4929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5" name="B4P">
            <a:extLst>
              <a:ext uri="{FF2B5EF4-FFF2-40B4-BE49-F238E27FC236}">
                <a16:creationId xmlns:a16="http://schemas.microsoft.com/office/drawing/2014/main" id="{899612A9-919C-462B-BF7D-45DFB27F4986}"/>
              </a:ext>
            </a:extLst>
          </p:cNvPr>
          <p:cNvSpPr txBox="1"/>
          <p:nvPr/>
        </p:nvSpPr>
        <p:spPr>
          <a:xfrm>
            <a:off x="4656080" y="25912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136" name="Triangle">
            <a:extLst>
              <a:ext uri="{FF2B5EF4-FFF2-40B4-BE49-F238E27FC236}">
                <a16:creationId xmlns:a16="http://schemas.microsoft.com/office/drawing/2014/main" id="{D5ACBA7B-67AC-47E5-B74C-11266471AA6F}"/>
              </a:ext>
            </a:extLst>
          </p:cNvPr>
          <p:cNvSpPr/>
          <p:nvPr/>
        </p:nvSpPr>
        <p:spPr>
          <a:xfrm rot="5400000">
            <a:off x="5061849" y="2879279"/>
            <a:ext cx="628462" cy="11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296040" y="1196752"/>
            <a:ext cx="216024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>
                <a:solidFill>
                  <a:schemeClr val="tx1"/>
                </a:solidFill>
              </a:rPr>
              <a:t>e.g. official</a:t>
            </a:r>
          </a:p>
          <a:p>
            <a:r>
              <a:rPr lang="en-US" sz="1200" b="1">
                <a:solidFill>
                  <a:schemeClr val="tx1"/>
                </a:solidFill>
              </a:rPr>
              <a:t>exchange rates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19888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Flussdiagramm: Zentralspeicher 139">
            <a:extLst>
              <a:ext uri="{FF2B5EF4-FFF2-40B4-BE49-F238E27FC236}">
                <a16:creationId xmlns:a16="http://schemas.microsoft.com/office/drawing/2014/main" id="{B713AAE0-5EA2-496B-9E49-12FB203CC8AF}"/>
              </a:ext>
            </a:extLst>
          </p:cNvPr>
          <p:cNvSpPr/>
          <p:nvPr/>
        </p:nvSpPr>
        <p:spPr>
          <a:xfrm>
            <a:off x="5591944" y="1412776"/>
            <a:ext cx="720080" cy="432048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032104" y="3789040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032104" y="4725144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port the differences, and, if allowed, use automated rules to resolve the inconsistencies</a:t>
            </a:r>
          </a:p>
        </p:txBody>
      </p:sp>
    </p:spTree>
    <p:extLst>
      <p:ext uri="{BB962C8B-B14F-4D97-AF65-F5344CB8AC3E}">
        <p14:creationId xmlns:p14="http://schemas.microsoft.com/office/powerpoint/2010/main" val="2968770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5646</Words>
  <Application>Microsoft Office PowerPoint</Application>
  <PresentationFormat>Breitbild</PresentationFormat>
  <Paragraphs>697</Paragraphs>
  <Slides>2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4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Execution and Analytics Engine Overview</vt:lpstr>
      <vt:lpstr>B4P Problem Statement Conventional methods do not address challenges of data management</vt:lpstr>
      <vt:lpstr>B4P Solution Automate manual data integration and management</vt:lpstr>
      <vt:lpstr>B4P Solution Automate your processes to overcome all pain points</vt:lpstr>
      <vt:lpstr>B4P Execution and Analytics Engine</vt:lpstr>
      <vt:lpstr>B4P The Execution Engine – A Typical Workflow</vt:lpstr>
      <vt:lpstr>B4P Supported Data Formats</vt:lpstr>
      <vt:lpstr>B4P Use Case Information interchange between multiple different databases</vt:lpstr>
      <vt:lpstr>B4P Use Case Heterogeneous data integration and cleanup from different sites worldwide</vt:lpstr>
      <vt:lpstr>B4P Use Case Enriched Business Intelligence</vt:lpstr>
      <vt:lpstr>B4P Language</vt:lpstr>
      <vt:lpstr>B4P Language Syntax and Semantics</vt:lpstr>
      <vt:lpstr>B4P Program Example 1 Merging 2 Tables – Problem Statement</vt:lpstr>
      <vt:lpstr>B4P Program Example 1 A simple program merging 2 tables – 15 statements, 0 variables, 0 loops</vt:lpstr>
      <vt:lpstr>B4P Program Example 1 Merging 2 Tables – The Result</vt:lpstr>
      <vt:lpstr>B4P Program Example 2 U.S. Presidents from Wikipedia</vt:lpstr>
      <vt:lpstr>B4P  Program Example 2 18 Statements, 0 loops and 0 variables to straighten up the Presidents</vt:lpstr>
      <vt:lpstr>B4P  Program Example 2 Presidents – The Result</vt:lpstr>
      <vt:lpstr>B4P  Program Example 3 Stock Data (SP 500 and NASDAQ 100) Combined</vt:lpstr>
      <vt:lpstr>B4P Program Example 3 21 Statements, 1 loop and 1 variable do the Job</vt:lpstr>
      <vt:lpstr>B4P Program Example 3 Stock Market Data - Results</vt:lpstr>
      <vt:lpstr>B4P  Beyond Former Performance.</vt:lpstr>
      <vt:lpstr>Appendix: Technical notes</vt:lpstr>
      <vt:lpstr>B4P – Beyond Former Performance New in Release 8.00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245</cp:revision>
  <cp:lastPrinted>2012-05-04T14:30:29Z</cp:lastPrinted>
  <dcterms:created xsi:type="dcterms:W3CDTF">2016-02-06T20:40:56Z</dcterms:created>
  <dcterms:modified xsi:type="dcterms:W3CDTF">2021-01-04T18:14:02Z</dcterms:modified>
</cp:coreProperties>
</file>